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974" r:id="rId4"/>
  </p:sldMasterIdLst>
  <p:notesMasterIdLst>
    <p:notesMasterId r:id="rId10"/>
  </p:notesMasterIdLst>
  <p:handoutMasterIdLst>
    <p:handoutMasterId r:id="rId11"/>
  </p:handoutMasterIdLst>
  <p:sldIdLst>
    <p:sldId id="659" r:id="rId5"/>
    <p:sldId id="636" r:id="rId6"/>
    <p:sldId id="618" r:id="rId7"/>
    <p:sldId id="657" r:id="rId8"/>
    <p:sldId id="658" r:id="rId9"/>
  </p:sldIdLst>
  <p:sldSz cx="9144000" cy="6858000" type="screen4x3"/>
  <p:notesSz cx="6797675" cy="9926638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>
          <p15:clr>
            <a:srgbClr val="A4A3A4"/>
          </p15:clr>
        </p15:guide>
        <p15:guide id="2" orient="horz" pos="3702">
          <p15:clr>
            <a:srgbClr val="A4A3A4"/>
          </p15:clr>
        </p15:guide>
        <p15:guide id="3" orient="horz" pos="2296">
          <p15:clr>
            <a:srgbClr val="A4A3A4"/>
          </p15:clr>
        </p15:guide>
        <p15:guide id="4" orient="horz" pos="2251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orient="horz" pos="4201">
          <p15:clr>
            <a:srgbClr val="A4A3A4"/>
          </p15:clr>
        </p15:guide>
        <p15:guide id="7" orient="horz" pos="2614">
          <p15:clr>
            <a:srgbClr val="A4A3A4"/>
          </p15:clr>
        </p15:guide>
        <p15:guide id="8" pos="249">
          <p15:clr>
            <a:srgbClr val="A4A3A4"/>
          </p15:clr>
        </p15:guide>
        <p15:guide id="9" pos="2857">
          <p15:clr>
            <a:srgbClr val="A4A3A4"/>
          </p15:clr>
        </p15:guide>
        <p15:guide id="10" pos="2903">
          <p15:clr>
            <a:srgbClr val="A4A3A4"/>
          </p15:clr>
        </p15:guide>
        <p15:guide id="11" pos="3787">
          <p15:clr>
            <a:srgbClr val="A4A3A4"/>
          </p15:clr>
        </p15:guide>
        <p15:guide id="12" pos="3742">
          <p15:clr>
            <a:srgbClr val="A4A3A4"/>
          </p15:clr>
        </p15:guide>
        <p15:guide id="13" pos="2018">
          <p15:clr>
            <a:srgbClr val="A4A3A4"/>
          </p15:clr>
        </p15:guide>
        <p15:guide id="14" pos="1973">
          <p15:clr>
            <a:srgbClr val="A4A3A4"/>
          </p15:clr>
        </p15:guide>
        <p15:guide id="15" pos="5511">
          <p15:clr>
            <a:srgbClr val="A4A3A4"/>
          </p15:clr>
        </p15:guide>
        <p15:guide id="16" pos="113">
          <p15:clr>
            <a:srgbClr val="A4A3A4"/>
          </p15:clr>
        </p15:guide>
        <p15:guide id="17" pos="5647">
          <p15:clr>
            <a:srgbClr val="A4A3A4"/>
          </p15:clr>
        </p15:guide>
        <p15:guide id="18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blo Alvarez" initials="pa" lastIdx="13" clrIdx="0"/>
  <p:cmAuthor id="1" name="uidq8689" initials="u" lastIdx="1" clrIdx="1"/>
  <p:cmAuthor id="2" name="Giovanni De Jesus Espinoza Moreno" initials="GJEM" lastIdx="3" clrIdx="2"/>
  <p:cmAuthor id="3" name="Ivan Eduardo Rodriguez Gonzalez" initials="IERG" lastIdx="4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EFD"/>
    <a:srgbClr val="FFFEFE"/>
    <a:srgbClr val="FFFF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285" autoAdjust="0"/>
  </p:normalViewPr>
  <p:slideViewPr>
    <p:cSldViewPr snapToObjects="1" showGuides="1">
      <p:cViewPr varScale="1">
        <p:scale>
          <a:sx n="114" d="100"/>
          <a:sy n="114" d="100"/>
        </p:scale>
        <p:origin x="1506" y="114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-10275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1" d="100"/>
          <a:sy n="81" d="100"/>
        </p:scale>
        <p:origin x="-4008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0BAD0-1087-43A9-B1A9-7A9D8A84A638}" type="datetimeFigureOut">
              <a:rPr lang="de-DE" smtClean="0"/>
              <a:pPr/>
              <a:t>22.05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CF6FF2-31AE-4F51-8EE2-6B6790F3B26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766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5/22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1EE67-FFF0-437D-BC5D-BA96B19350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909413-10AB-47D0-9F4F-24C9E9BE62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1FCFE4-216F-4088-927C-0B729D0A7D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2D5436-0DA6-4ED0-A1E9-C9FB9D80A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ED86F1-0C86-49F0-A1D4-22A4FEC0D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74731561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AF0B5A-E2F6-41D9-9008-94093B834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2D8138-3A76-452C-ABD5-18C33624FD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BFA098-563E-461C-B9E0-F4EB2D326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C3BF13-F343-4539-9CC3-BCC2D7B9F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40E941-DA04-4EE2-92FF-F8299F076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19662092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164DFA-43C5-490D-9301-30B7239A631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530259-3269-42BE-A88B-41AD8C095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C28008-74F7-4559-AF12-8472B87E3F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ED55E-1DB4-49FA-996D-178A4AFCE7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6C10EC-3E46-4450-8A3B-C8A7D53B25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26033111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D3C2509-B3AD-4BC1-99C7-8C189E029446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AS QRO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7210807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err="1">
                <a:solidFill>
                  <a:schemeClr val="bg1"/>
                </a:solidFill>
              </a:rPr>
              <a:t>Bitt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decken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Sie</a:t>
            </a:r>
            <a:r>
              <a:rPr lang="en-US" sz="1600" baseline="0" noProof="0">
                <a:solidFill>
                  <a:schemeClr val="bg1"/>
                </a:solidFill>
              </a:rPr>
              <a:t> die </a:t>
            </a:r>
            <a:r>
              <a:rPr lang="en-US" sz="1600" baseline="0" noProof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Fläch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mit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einem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Bild</a:t>
            </a:r>
            <a:r>
              <a:rPr lang="en-US" sz="1600" baseline="0" noProof="0">
                <a:solidFill>
                  <a:schemeClr val="bg1"/>
                </a:solidFill>
              </a:rPr>
              <a:t> ab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Please cover</a:t>
            </a:r>
            <a:r>
              <a:rPr lang="en-US" sz="1600" baseline="0" noProof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(24,4 x 18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3" name="Grafik 12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48" y="-1"/>
            <a:ext cx="2555565" cy="1304925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F352D4-938E-4D4D-BA1D-30A68F79C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B02435-836D-49E3-AECE-6CC24A4FB9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328469-0749-49F2-82C5-5E843D634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7A458B-E685-49BD-A26E-629ADB2A1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0055-042F-486A-93F7-C3AA452C4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72150145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2A8BDF-07B1-4AF5-A273-306AE3E89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C3483E-553C-4496-AC38-1480FA7EBF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1EF4C4-2597-4FA6-A289-F0E243E99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5EFCA6-24D9-42BA-A000-8D913ACF81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8086CE-3604-40BF-8D80-4330B8FB91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91994009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41FDAA-CA38-45D9-8C60-E194F1B92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85E5A2-6F52-4121-9A4C-5E2B701B87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A75BFE-51BC-4BC9-A695-84763D7390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70A255-37BA-417A-A65F-F628DBE5B8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903987-7923-4F4D-BB3F-4A565762F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5A703B-3BDB-408B-A640-46978F486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19986344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9B66D-33D7-46C3-9A61-C2AD8A245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FCAB98-F311-4BF7-A21D-02856D5ECB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32E6D2-A61C-46DD-9FA9-CEE730A382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470798-5D50-445D-BBF3-F36C53A875C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F25205B-74C3-400A-958F-8BFD8C740B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9916E8-FF03-4704-945D-CD1C1F5B86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41913C0-0C83-4147-A4CE-8F64B9D03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535191-CAA2-43B2-A1D7-CE0D52513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83319889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A5EB8-C2BC-4DCA-9B0D-2FDD4B73D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7C44E0-A215-4D60-9A5E-45C29AE15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875FB9-7A95-4950-BAE3-835F7E276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A13266-58F0-410E-B030-F8C1BEF8A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4517096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F0CF86-BA7F-439D-9737-DCA39A160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716C35-DEB2-47D3-B480-9F36459BE6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EB46D1-B6F9-4292-B3AF-6C7157FCB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25483552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FB4C5C-8DB5-4411-A7C6-EBE0BCF495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830A04-86ED-424B-9CC0-59AD0948A2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061F57-DED2-4535-959C-F62271D880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35AE1E-6403-4B54-8799-0500AD191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D622AB-3797-47B9-9158-3B61598C91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286CAD-5B85-428D-84FD-BA76DBB9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49975269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C3FD65-DF45-4B2D-8765-FB26A3927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2FF4BC-1FF9-453A-8705-32A2A2BB19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E043A9-88D3-4BBC-A213-E4A251D89A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EC945C-65EB-403C-9A3F-24090ECF18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3C4C86-DAB1-40B1-A385-A4AAD8F77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677EB6-E1A9-42D2-BABF-7EF7077F1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6628981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9D077-036F-44C4-AC16-DBE905362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DAD7AB-77FE-4240-AA4F-ECAE9F1CA8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F16328-FAFE-44A2-A69F-D2F42C9BF4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14F84F-A521-40E0-A78D-C7C6EA60E8A2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FD951-BA7C-4FC2-BF03-FFFEF17E19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noProof="0"/>
              <a:t>ADAS QRO, © Continental A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C2CA28-D460-413C-B341-3E0F4D5005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76661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  <p:sldLayoutId id="2147483986" r:id="rId12"/>
    <p:sldLayoutId id="2147483649" r:id="rId13"/>
    <p:sldLayoutId id="2147483670" r:id="rId14"/>
  </p:sldLayoutIdLst>
  <p:transition>
    <p:fade/>
  </p:transition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tehuano/cpp-basics/blob/master/00_hello_world.cpp" TargetMode="Externa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6F37D81-3CC2-439B-8D1C-AD589A2A5F0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s-MX" sz="4800" b="1" dirty="0"/>
              <a:t>C++ (and C) </a:t>
            </a:r>
            <a:r>
              <a:rPr lang="es-MX" sz="4800" b="1" dirty="0" err="1"/>
              <a:t>Programming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41FFEEB3-BEFC-49CD-826C-8EA7FB76FC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l"/>
            <a:endParaRPr lang="en-US" b="1" dirty="0"/>
          </a:p>
          <a:p>
            <a:pPr algn="l"/>
            <a:r>
              <a:rPr lang="en-US" b="1" dirty="0"/>
              <a:t>Rommel García Hernández</a:t>
            </a:r>
          </a:p>
          <a:p>
            <a:pPr algn="l"/>
            <a:r>
              <a:rPr lang="en-US" sz="1500" dirty="0"/>
              <a:t>Senior Cybersecurity Engineer</a:t>
            </a:r>
          </a:p>
          <a:p>
            <a:pPr algn="l"/>
            <a:r>
              <a:rPr lang="en-US" sz="1500" dirty="0"/>
              <a:t>Hardware Design Engineer</a:t>
            </a:r>
          </a:p>
          <a:p>
            <a:pPr algn="l"/>
            <a:r>
              <a:rPr lang="en-US" sz="1500" dirty="0"/>
              <a:t>Software Developer End-to-End</a:t>
            </a:r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3EFA3-D479-4FE8-8B6D-4D7D5801C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C2509-B3AD-4BC1-99C7-8C189E029446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B9BA70-FD5C-40E4-9080-D2E3ADDA6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0AD27D-87BC-4F33-85C1-D70F245FE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5948521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7C4568-629B-4448-AAC2-DC4C036549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dirty="0">
                <a:solidFill>
                  <a:schemeClr val="accent1"/>
                </a:solidFill>
              </a:rPr>
              <a:t>Agenda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45D5E75-7E08-49A8-BB9F-1C130525AC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GB" dirty="0"/>
              <a:t>Introductio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dirty="0"/>
              <a:t>The Basic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Hello, World!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Typ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Variabl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Arithmetic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Constant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Tests and Loops Pointer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dirty="0"/>
              <a:t>Array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dirty="0"/>
              <a:t>Loop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dirty="0"/>
              <a:t>User-Defined Typ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dirty="0"/>
              <a:t>Structur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dirty="0"/>
              <a:t>Class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dirty="0"/>
              <a:t>Enumeration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dirty="0"/>
              <a:t>Modularit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dirty="0"/>
              <a:t>Separate Compilatio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dirty="0"/>
              <a:t>Namespac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dirty="0"/>
              <a:t>Error Handl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dirty="0"/>
              <a:t>Postscrip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dirty="0"/>
              <a:t>Advic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B44E9B-5B5B-45C0-AE9D-AA851B094C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BAE09-B5FD-46EE-A3F8-620CC540CF33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ACD61965-C95A-4D4C-B369-93F397C04B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DAS QRO, © Continental 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5D1124-1F3D-4C56-BCFB-4B642605C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8563837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D1CAF11-704E-4F14-BA3F-0D17CC06AD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algn="just"/>
            <a:r>
              <a:rPr lang="en-US" dirty="0"/>
              <a:t>C++ is a compiled language. For a program to run, its source text has to be processed by a compiler, producing object files, which are combined by a linker yielding an executable program. A C++ program typically consists of many source code files (usually simply called </a:t>
            </a:r>
            <a:r>
              <a:rPr lang="en-US" i="1" dirty="0"/>
              <a:t>source files</a:t>
            </a:r>
            <a:r>
              <a:rPr lang="en-US" dirty="0"/>
              <a:t>).</a:t>
            </a:r>
          </a:p>
          <a:p>
            <a:pPr algn="just"/>
            <a:endParaRPr lang="en-US" dirty="0"/>
          </a:p>
          <a:p>
            <a:pPr algn="just"/>
            <a:endParaRPr lang="en-US" dirty="0"/>
          </a:p>
          <a:p>
            <a:pPr algn="just"/>
            <a:endParaRPr lang="en-US" dirty="0"/>
          </a:p>
          <a:p>
            <a:pPr algn="just"/>
            <a:endParaRPr lang="en-US" dirty="0"/>
          </a:p>
          <a:p>
            <a:pPr algn="just"/>
            <a:endParaRPr lang="en-US" dirty="0"/>
          </a:p>
          <a:p>
            <a:r>
              <a:rPr lang="en-US" dirty="0"/>
              <a:t>An executable program is created for a specific hardware/system combination; it is not portable, say, from a Mac to a Windows PC. When we talk about portability of C++ programs, we usually mean portability of source code; that is, the source code can be successfully compiled and run on a </a:t>
            </a:r>
            <a:r>
              <a:rPr lang="en-GB" dirty="0"/>
              <a:t>variety of systems.</a:t>
            </a:r>
            <a:endParaRPr lang="en-US" dirty="0"/>
          </a:p>
          <a:p>
            <a:pPr algn="just"/>
            <a:endParaRPr lang="en-US" dirty="0"/>
          </a:p>
          <a:p>
            <a:pPr algn="just"/>
            <a:r>
              <a:rPr lang="en-US" b="1" i="1" dirty="0"/>
              <a:t>The assumption is that you have programmed before. If not, please consider reading a textbook, such as Programming: Principles and Practice Using C++ [Stroustrup,2009], before continuing here [1].</a:t>
            </a:r>
            <a:endParaRPr lang="es-MX" b="1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967650-E423-4FF3-800F-29AD30626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s-MX" dirty="0" err="1"/>
              <a:t>Introduction</a:t>
            </a:r>
            <a:endParaRPr lang="es-MX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1CA9FB-5BBC-4B03-8A12-8FACF46121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A4316A-F372-44A8-BA94-D4CB2252EA60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D4632C-397C-4D86-99CC-AE51663B1A3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4C2560-1B0A-40B1-B383-C801F416408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AS QRO, © Continental A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7A9BCC-5326-428C-9733-8110774709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362" y="2564904"/>
            <a:ext cx="7153275" cy="74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67052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8610EF6-73E0-4EDA-922D-9ABA7DCE88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minimal C++ program is</a:t>
            </a:r>
            <a:endParaRPr lang="es-MX" dirty="0"/>
          </a:p>
          <a:p>
            <a:pPr marL="357188" lvl="1" indent="0">
              <a:buNone/>
            </a:pP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int main() { } //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he minimal C++ program</a:t>
            </a:r>
          </a:p>
          <a:p>
            <a:pPr lvl="1"/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just"/>
            <a:r>
              <a:rPr lang="en-US" dirty="0"/>
              <a:t>Every C++ program must have exactly one global function named </a:t>
            </a:r>
            <a:r>
              <a:rPr lang="en-US" b="1" dirty="0"/>
              <a:t>main()</a:t>
            </a:r>
            <a:r>
              <a:rPr lang="en-US" dirty="0"/>
              <a:t>. The program starts by executing that function. The </a:t>
            </a:r>
            <a:r>
              <a:rPr lang="en-US" b="1" dirty="0"/>
              <a:t>int </a:t>
            </a:r>
            <a:r>
              <a:rPr lang="en-US" dirty="0"/>
              <a:t>value returned by </a:t>
            </a:r>
            <a:r>
              <a:rPr lang="en-US" b="1" dirty="0"/>
              <a:t>main()</a:t>
            </a:r>
            <a:r>
              <a:rPr lang="en-US" dirty="0"/>
              <a:t>, if any, is the program’s return value to ‘‘the system.’’ If no value is returned, the system will receive a value indicating successful completion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A nonzero value from </a:t>
            </a:r>
            <a:r>
              <a:rPr lang="en-US" b="1" dirty="0"/>
              <a:t>main() </a:t>
            </a:r>
            <a:r>
              <a:rPr lang="en-US" dirty="0"/>
              <a:t>indicates failure. Not every operating system and execution environment make use of that return value.</a:t>
            </a:r>
          </a:p>
          <a:p>
            <a:pPr algn="just"/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just"/>
            <a:r>
              <a:rPr lang="en-US" dirty="0">
                <a:hlinkClick r:id="rId2"/>
              </a:rPr>
              <a:t>00_hello_world.cpp </a:t>
            </a:r>
            <a:r>
              <a:rPr lang="en-US" dirty="0"/>
              <a:t>is a program that writes </a:t>
            </a:r>
            <a:r>
              <a:rPr lang="en-US" b="1" dirty="0"/>
              <a:t>Hello, World!. (5 mins practice)</a:t>
            </a:r>
            <a:endParaRPr lang="en-GB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3674D0-CDF3-4F2C-BEC1-8716805A2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s-MX" dirty="0" err="1"/>
              <a:t>Hello</a:t>
            </a:r>
            <a:r>
              <a:rPr lang="es-MX" dirty="0"/>
              <a:t> </a:t>
            </a:r>
            <a:r>
              <a:rPr lang="es-MX" dirty="0" err="1"/>
              <a:t>World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A692D6-0220-4572-85D1-F2332CF22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C2509-B3AD-4BC1-99C7-8C189E029446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363702-D773-4F19-8901-E9AB10DE35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CCECE8-3719-4EC0-9599-9A8222BADCE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91262270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D067C7B-D82C-4727-91EE-CF139AD9C8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314E87-1AFC-46DC-8C5D-6FDE3BBFD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dirty="0"/>
              <a:t>A </a:t>
            </a:r>
            <a:r>
              <a:rPr lang="es-MX" dirty="0" err="1"/>
              <a:t>program</a:t>
            </a:r>
            <a:r>
              <a:rPr lang="es-MX" dirty="0"/>
              <a:t> </a:t>
            </a:r>
            <a:r>
              <a:rPr lang="es-MX" dirty="0" err="1"/>
              <a:t>with</a:t>
            </a:r>
            <a:r>
              <a:rPr lang="es-MX" dirty="0"/>
              <a:t> </a:t>
            </a:r>
            <a:r>
              <a:rPr lang="es-MX" dirty="0" err="1"/>
              <a:t>errors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17BA13-1A7C-41C2-A9C1-47BC5D9749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C2509-B3AD-4BC1-99C7-8C189E029446}" type="datetime3">
              <a:rPr lang="en-US" noProof="0" smtClean="0"/>
              <a:t>22 May 2019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8C48AA-C818-43B8-8765-CC122B081B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09DF6C-877D-4B93-8CA4-967D230C686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DAS QRO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43563881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 (CCT)" ma:contentTypeID="0x010100C54AEFCD9DBB4E319E8DEF77F32B830D005199B75F2396444D875FD02C1A2C2BFB" ma:contentTypeVersion="4" ma:contentTypeDescription="Document Content Type (CCT)" ma:contentTypeScope="" ma:versionID="f8e942482795569239b32f1f4e512435">
  <xsd:schema xmlns:xsd="http://www.w3.org/2001/XMLSchema" xmlns:xs="http://www.w3.org/2001/XMLSchema" xmlns:p="http://schemas.microsoft.com/office/2006/metadata/properties" xmlns:ns1="http://schemas.microsoft.com/sharepoint/v3" xmlns:ns3="d07e5baf-7cd7-4022-93bc-b44ff963d4d7" targetNamespace="http://schemas.microsoft.com/office/2006/metadata/properties" ma:root="true" ma:fieldsID="a8891c7fd41bd69dc481f171dff91e92" ns1:_="" ns3:_="">
    <xsd:import namespace="http://schemas.microsoft.com/sharepoint/v3"/>
    <xsd:import namespace="d07e5baf-7cd7-4022-93bc-b44ff963d4d7"/>
    <xsd:element name="properties">
      <xsd:complexType>
        <xsd:sequence>
          <xsd:element name="documentManagement">
            <xsd:complexType>
              <xsd:all>
                <xsd:element ref="ns1:Status" minOccurs="0"/>
                <xsd:element ref="ns1:Comments" minOccurs="0"/>
                <xsd:element ref="ns1:Language" minOccurs="0"/>
                <xsd:element ref="ns1:Owner" minOccurs="0"/>
                <xsd:element ref="ns1:SecurityClass" minOccurs="0"/>
                <xsd:element ref="ns1:ValidUntil" minOccurs="0"/>
                <xsd:element ref="ns3:OrgFileExt" minOccurs="0"/>
                <xsd:element ref="ns3:CurItemEx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tatus" ma:index="10" nillable="true" ma:displayName="Status" ma:default="Draft" ma:description="Document Status" ma:internalName="Status" ma:readOnly="false">
      <xsd:simpleType>
        <xsd:restriction base="dms:Choice">
          <xsd:enumeration value=""/>
          <xsd:enumeration value="Not started"/>
          <xsd:enumeration value="Draft"/>
          <xsd:enumeration value="Reviewed"/>
          <xsd:enumeration value="Released"/>
          <xsd:enumeration value="Valid"/>
          <xsd:enumeration value="Outdated"/>
          <xsd:enumeration value="Invalid"/>
        </xsd:restriction>
      </xsd:simpleType>
    </xsd:element>
    <xsd:element name="Comments" ma:index="11" nillable="true" ma:displayName="Comment" ma:internalName="Comments">
      <xsd:simpleType>
        <xsd:restriction base="dms:Note">
          <xsd:maxLength value="255"/>
        </xsd:restriction>
      </xsd:simpleType>
    </xsd:element>
    <xsd:element name="Language" ma:index="12" nillable="true" ma:displayName="Language" ma:default="English (en)" ma:description="Document Language" ma:internalName="Language" ma:readOnly="false">
      <xsd:simpleType>
        <xsd:restriction base="dms:Choice">
          <xsd:enumeration value="Arabic (ar)"/>
          <xsd:enumeration value="Bulgarian (bg)"/>
          <xsd:enumeration value="Chinese (zh)"/>
          <xsd:enumeration value="Croatian (hr)"/>
          <xsd:enumeration value="Czech (cs)"/>
          <xsd:enumeration value="Danish (da)"/>
          <xsd:enumeration value="Dutch (nl)"/>
          <xsd:enumeration value="English (en)"/>
          <xsd:enumeration value="Estonian (et)"/>
          <xsd:enumeration value="Finnish (fi)"/>
          <xsd:enumeration value="French (fr)"/>
          <xsd:enumeration value="German (de)"/>
          <xsd:enumeration value="Greek (el)"/>
          <xsd:enumeration value="Hebrew (he)"/>
          <xsd:enumeration value="Hindi (hi)"/>
          <xsd:enumeration value="Hungarian (hu)"/>
          <xsd:enumeration value="Indonesian (id)"/>
          <xsd:enumeration value="Italian (it)"/>
          <xsd:enumeration value="Japanese (ja)"/>
          <xsd:enumeration value="Korean (ko)"/>
          <xsd:enumeration value="Latvian (lv)"/>
          <xsd:enumeration value="Lithuanian (lt)"/>
          <xsd:enumeration value="Malay (ms)"/>
          <xsd:enumeration value="Norwegian (no)"/>
          <xsd:enumeration value="Polish (pl)"/>
          <xsd:enumeration value="Portuguese (pt)"/>
          <xsd:enumeration value="Romanian (ro)"/>
          <xsd:enumeration value="Russian (ru)"/>
          <xsd:enumeration value="Serbian (sr)"/>
          <xsd:enumeration value="Slovak (sk)"/>
          <xsd:enumeration value="Slovenian (sl)"/>
          <xsd:enumeration value="Spanish (es)"/>
          <xsd:enumeration value="Swedish (sv)"/>
          <xsd:enumeration value="Thai (th)"/>
          <xsd:enumeration value="Turkish (tr)"/>
          <xsd:enumeration value="Ukrainian (uk)"/>
          <xsd:enumeration value="Urdu (ur)"/>
          <xsd:enumeration value="Vietnamese (vi)"/>
        </xsd:restriction>
      </xsd:simpleType>
    </xsd:element>
    <xsd:element name="Owner" ma:index="13" nillable="true" ma:displayName="Owner of the Document" ma:description="Owner of the Document" ma:internalName="Owner_x0020_of_x0020_the_x0020_Document" ma:readOnly="false">
      <xsd:simpleType>
        <xsd:restriction base="dms:Text"/>
      </xsd:simpleType>
    </xsd:element>
    <xsd:element name="SecurityClass" ma:index="14" nillable="true" ma:displayName="Security Class" ma:default="Internal" ma:description="Security Class of Document" ma:internalName="SecurityClass" ma:readOnly="false">
      <xsd:simpleType>
        <xsd:restriction base="dms:Choice">
          <xsd:enumeration value="Internal"/>
          <xsd:enumeration value="Public"/>
          <xsd:enumeration value="Confidential"/>
        </xsd:restriction>
      </xsd:simpleType>
    </xsd:element>
    <xsd:element name="ValidUntil" ma:index="15" nillable="true" ma:displayName="Valid Until" ma:description="Document Valid Until" ma:format="DateOnly" ma:internalName="ValidUntil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7e5baf-7cd7-4022-93bc-b44ff963d4d7" elementFormDefault="qualified">
    <xsd:import namespace="http://schemas.microsoft.com/office/2006/documentManagement/types"/>
    <xsd:import namespace="http://schemas.microsoft.com/office/infopath/2007/PartnerControls"/>
    <xsd:element name="OrgFileExt" ma:index="16" nillable="true" ma:displayName="Orginal Ext" ma:internalName="OrgFileExt" ma:readOnly="true">
      <xsd:simpleType>
        <xsd:restriction base="dms:Text"/>
      </xsd:simpleType>
    </xsd:element>
    <xsd:element name="CurItemExt" ma:index="17" nillable="true" ma:displayName="Current Ext" ma:internalName="CurItemExt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8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 (en)</Language>
    <Owner xmlns="http://schemas.microsoft.com/sharepoint/v3">ADAS GDL</Owner>
    <SecurityClass xmlns="http://schemas.microsoft.com/sharepoint/v3">Internal</SecurityClass>
    <ValidUntil xmlns="http://schemas.microsoft.com/sharepoint/v3" xsi:nil="true"/>
    <Comments xmlns="http://schemas.microsoft.com/sharepoint/v3" xsi:nil="true"/>
    <Status xmlns="http://schemas.microsoft.com/sharepoint/v3">Draft</Status>
    <OrgFileExt xmlns="d07e5baf-7cd7-4022-93bc-b44ff963d4d7">.pptx</OrgFileExt>
    <CurItemExt xmlns="d07e5baf-7cd7-4022-93bc-b44ff963d4d7">.pptx</CurItemExt>
  </documentManagement>
</p:properties>
</file>

<file path=customXml/itemProps1.xml><?xml version="1.0" encoding="utf-8"?>
<ds:datastoreItem xmlns:ds="http://schemas.openxmlformats.org/officeDocument/2006/customXml" ds:itemID="{C44AE6B6-0BCA-4797-B6BE-B4B2A9943C9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5A683C8-EF6F-4AFA-AE4A-F5167D00B8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07e5baf-7cd7-4022-93bc-b44ff963d4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F999401-F506-4F10-A811-86C0A24A2D5C}">
  <ds:schemaRefs>
    <ds:schemaRef ds:uri="http://schemas.openxmlformats.org/package/2006/metadata/core-properties"/>
    <ds:schemaRef ds:uri="d07e5baf-7cd7-4022-93bc-b44ff963d4d7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5</Words>
  <Application>Microsoft Office PowerPoint</Application>
  <PresentationFormat>On-screen Show (4:3)</PresentationFormat>
  <Paragraphs>62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Courier New</vt:lpstr>
      <vt:lpstr>Wingdings</vt:lpstr>
      <vt:lpstr>Office Theme</vt:lpstr>
      <vt:lpstr>C++ (and C) Programming</vt:lpstr>
      <vt:lpstr>Agenda</vt:lpstr>
      <vt:lpstr>Introduction</vt:lpstr>
      <vt:lpstr>Hello World</vt:lpstr>
      <vt:lpstr>A program with errors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uidu7976</dc:creator>
  <cp:lastModifiedBy>Garcia Hernandez, Rommel (uia68329)</cp:lastModifiedBy>
  <cp:revision>1002</cp:revision>
  <dcterms:created xsi:type="dcterms:W3CDTF">2013-07-09T13:04:04Z</dcterms:created>
  <dcterms:modified xsi:type="dcterms:W3CDTF">2019-05-22T20:1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4AEFCD9DBB4E319E8DEF77F32B830D005199B75F2396444D875FD02C1A2C2BFB</vt:lpwstr>
  </property>
</Properties>
</file>